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67" r:id="rId4"/>
    <p:sldId id="268" r:id="rId5"/>
    <p:sldId id="270" r:id="rId6"/>
    <p:sldId id="271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58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73" d="100"/>
          <a:sy n="73" d="100"/>
        </p:scale>
        <p:origin x="-62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8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789195" y="180703"/>
            <a:ext cx="8825658" cy="3329581"/>
          </a:xfrm>
        </p:spPr>
        <p:txBody>
          <a:bodyPr/>
          <a:lstStyle/>
          <a:p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Οδηγός για το</a:t>
            </a: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en-US" sz="72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students.hmu</a:t>
            </a:r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/>
            </a:r>
            <a:b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</a:br>
            <a:r>
              <a:rPr kumimoji="0" lang="el-GR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Ζουρμπάκης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Αλκίνοος/ Διδακτορικός φοιτητής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763069" y="3647842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815321" y="4517337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- Ορθογώνιο"/>
          <p:cNvSpPr/>
          <p:nvPr/>
        </p:nvSpPr>
        <p:spPr>
          <a:xfrm>
            <a:off x="0" y="5844123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l-GR" sz="1200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/>
            </a:br>
            <a:endParaRPr lang="el-GR" sz="1200" dirty="0"/>
          </a:p>
          <a:p>
            <a:pPr algn="just"/>
            <a:r>
              <a:rPr lang="el-GR" sz="1200" dirty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67624" y="4669473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ήλωση μαθημάτων-Επεξεργασί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6F246C55-BFC8-A131-2459-E464509AD0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753644"/>
            <a:ext cx="10316917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9F499683-5850-D285-8DA0-C3CC1BE8414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1109232" y="1896564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9948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E5155">
                  <a:lumMod val="40000"/>
                  <a:lumOff val="60000"/>
                </a:srgbClr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Επιλογή μαθη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A5DF07E0-943D-3EDB-96D5-05911AF3D6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AAE4DB5-6667-65C1-425D-3C0DD6D0545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964006" y="3429000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0187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E5155">
                  <a:lumMod val="40000"/>
                  <a:lumOff val="60000"/>
                </a:srgbClr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Επιλογή μαθη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AD53C3B0-1DF2-DB60-F75A-97F329C751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904DE491-3428-C985-751D-04C05AAC5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19FB1380-2557-2F69-2DF1-B3E21F8BF66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799338" y="327973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2188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Υποβολή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xmlns="" id="{CF88EBD6-0DD7-14A8-A822-D69E765E92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419" y="1824903"/>
            <a:ext cx="10304209" cy="4551906"/>
          </a:xfrm>
          <a:prstGeom prst="rect">
            <a:avLst/>
          </a:prstGeom>
        </p:spPr>
      </p:pic>
      <p:sp>
        <p:nvSpPr>
          <p:cNvPr id="1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9F2B9934-32FA-1CA1-16CA-2BA25A581CF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964006" y="4410208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8328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xmlns="" id="{9676C934-F1BC-AD5E-D623-B9CB2DC6B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9945" y="1375954"/>
            <a:ext cx="6183146" cy="2581275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39716" y="4421279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6 - Ορθογώνιο"/>
          <p:cNvSpPr/>
          <p:nvPr/>
        </p:nvSpPr>
        <p:spPr>
          <a:xfrm>
            <a:off x="0" y="5844123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l-GR" sz="1200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/>
            </a:br>
            <a:endParaRPr lang="el-GR" sz="1200" dirty="0"/>
          </a:p>
          <a:p>
            <a:pPr algn="just"/>
            <a:r>
              <a:rPr lang="el-GR" sz="1200" dirty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</a:p>
        </p:txBody>
      </p:sp>
    </p:spTree>
    <p:extLst>
      <p:ext uri="{BB962C8B-B14F-4D97-AF65-F5344CB8AC3E}">
        <p14:creationId xmlns:p14="http://schemas.microsoft.com/office/powerpoint/2010/main" xmlns="" val="92248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e-</a:t>
            </a:r>
            <a:r>
              <a:rPr lang="el-GR" sz="3600" dirty="0"/>
              <a:t>Γραμματεία (</a:t>
            </a:r>
            <a:r>
              <a:rPr lang="en-US" sz="3600" dirty="0"/>
              <a:t>students.hmu.gr</a:t>
            </a:r>
            <a:r>
              <a:rPr lang="el-GR" sz="3600" dirty="0"/>
              <a:t>)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D808845B-A77E-DA3D-62CB-65CCFFE8A7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39" y="1893776"/>
            <a:ext cx="10316919" cy="430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77832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ίσοδος στο </a:t>
            </a:r>
            <a:r>
              <a:rPr lang="en-US" sz="3600" dirty="0"/>
              <a:t>students.hmu.gr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9" name="Εικόνα 8">
            <a:extLst>
              <a:ext uri="{FF2B5EF4-FFF2-40B4-BE49-F238E27FC236}">
                <a16:creationId xmlns:a16="http://schemas.microsoft.com/office/drawing/2014/main" xmlns="" id="{70676C5C-A632-8A70-4C77-5F0860D40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065" y="1911313"/>
            <a:ext cx="10316918" cy="423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1571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AD53C3B0-1DF2-DB60-F75A-97F329C75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94660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ξυπηρέτη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A783A56E-1320-BEF4-6CEA-356936D67D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569" y="1753644"/>
            <a:ext cx="10314860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F6E31066-3F53-8EBE-80F1-7C9884C4410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784155" y="122464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11404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Αιτήσεις προς τη γραμματεί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E6491577-9075-E4F9-951A-4F672DAE3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018" y="1853184"/>
            <a:ext cx="10316918" cy="4619360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5C1E13DF-F7C1-BC85-7E50-0C47A8F2BB4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2883483" y="152970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0474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Νέα αίτηση-Είδη πιστοποιητικών και αι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E57DA438-2B4D-F687-756B-9CC737F20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753644"/>
            <a:ext cx="10316918" cy="4551905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6CA00C00-EDC9-C998-1EE5-EF5E2C57512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600401" y="2746209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4704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Αίτηση- Βεβαίωση σπουδ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9F67C2E0-5B99-4A5B-29A4-252E59CC3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54261"/>
            <a:ext cx="10316918" cy="459380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45EDDA17-B68B-AD46-D4A4-8753FE78024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5400000">
            <a:off x="5768970" y="3877455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88708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ηλώσει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EF95C33F-5793-08DA-A82D-034F2AF31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543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79C5B82-0EDA-F8B1-C903-70AB2599F0B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8833179" y="134656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1654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</TotalTime>
  <Words>212</Words>
  <Application>Microsoft Office PowerPoint</Application>
  <PresentationFormat>Προσαρμογή</PresentationFormat>
  <Paragraphs>32</Paragraphs>
  <Slides>14</Slides>
  <Notes>0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4</vt:i4>
      </vt:variant>
    </vt:vector>
  </HeadingPairs>
  <TitlesOfParts>
    <vt:vector size="15" baseType="lpstr">
      <vt:lpstr>Ιόν</vt:lpstr>
      <vt:lpstr>Οδηγός για το students.hmu Ζουρμπάκης Αλκίνοος/ Διδακτορικός φοιτητής</vt:lpstr>
      <vt:lpstr>Διαφάνεια 2</vt:lpstr>
      <vt:lpstr>Διαφάνεια 3</vt:lpstr>
      <vt:lpstr>Διαφάνεια 4</vt:lpstr>
      <vt:lpstr>Διαφάνεια 5</vt:lpstr>
      <vt:lpstr>Διαφάνεια 6</vt:lpstr>
      <vt:lpstr>Διαφάνεια 7</vt:lpstr>
      <vt:lpstr>Διαφάνεια 8</vt:lpstr>
      <vt:lpstr>Διαφάνεια 9</vt:lpstr>
      <vt:lpstr>Διαφάνεια 10</vt:lpstr>
      <vt:lpstr>Διαφάνεια 11</vt:lpstr>
      <vt:lpstr>Διαφάνεια 12</vt:lpstr>
      <vt:lpstr>Διαφάνεια 13</vt:lpstr>
      <vt:lpstr>Διαφάνεια 14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ΚΑΤΕΡΙΝΑ</cp:lastModifiedBy>
  <cp:revision>12</cp:revision>
  <dcterms:created xsi:type="dcterms:W3CDTF">2023-09-21T10:16:00Z</dcterms:created>
  <dcterms:modified xsi:type="dcterms:W3CDTF">2023-10-11T16:20:39Z</dcterms:modified>
</cp:coreProperties>
</file>